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101A73-19A6-4031-B459-760B72B22C41}" v="36" dt="2022-05-10T08:58:31.57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174" y="43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4F101A73-19A6-4031-B459-760B72B22C41}"/>
    <pc:docChg chg="modSld">
      <pc:chgData name="Kümmerle, Markus" userId="edb588ad-b118-44cb-93b6-335b967c9009" providerId="ADAL" clId="{4F101A73-19A6-4031-B459-760B72B22C41}" dt="2022-05-10T08:58:27.518" v="98" actId="20577"/>
      <pc:docMkLst>
        <pc:docMk/>
      </pc:docMkLst>
      <pc:sldChg chg="addSp modSp mod">
        <pc:chgData name="Kümmerle, Markus" userId="edb588ad-b118-44cb-93b6-335b967c9009" providerId="ADAL" clId="{4F101A73-19A6-4031-B459-760B72B22C41}" dt="2022-05-10T08:58:27.518" v="98" actId="20577"/>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0.05.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709" y="8108678"/>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82251"/>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3040305" y="7595720"/>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028371" y="8428515"/>
            <a:ext cx="1381671" cy="667808"/>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2061475" y="8806421"/>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89454" y="9329067"/>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139322" y="8797506"/>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62361" cy="215444"/>
          </a:xfrm>
          <a:prstGeom prst="rect">
            <a:avLst/>
          </a:prstGeom>
          <a:noFill/>
        </p:spPr>
        <p:txBody>
          <a:bodyPr wrap="none" rtlCol="0">
            <a:spAutoFit/>
          </a:bodyPr>
          <a:lstStyle/>
          <a:p>
            <a:r>
              <a:rPr lang="de-DE" sz="800">
                <a:latin typeface="FlexoSoft Light" panose="02000000000000000000" pitchFamily="2" charset="0"/>
              </a:rPr>
              <a:t>12.05.2022</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2656591" y="8391735"/>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339371" y="8508520"/>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75078"/>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4882004" y="7708788"/>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133470" y="8839492"/>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331886"/>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923054" y="7976583"/>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5645179" y="8051603"/>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93771"/>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3561682" y="7639251"/>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402311"/>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5416411" y="7806635"/>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5504218" y="8595025"/>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8"/>
          <a:stretch>
            <a:fillRect/>
          </a:stretch>
        </p:blipFill>
        <p:spPr>
          <a:xfrm>
            <a:off x="4495189" y="8215242"/>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9"/>
          <a:stretch>
            <a:fillRect/>
          </a:stretch>
        </p:blipFill>
        <p:spPr>
          <a:xfrm>
            <a:off x="418258" y="8262544"/>
            <a:ext cx="1195549" cy="21171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30"/>
          <a:stretch>
            <a:fillRect/>
          </a:stretch>
        </p:blipFill>
        <p:spPr>
          <a:xfrm>
            <a:off x="411601" y="8966650"/>
            <a:ext cx="1217662" cy="283468"/>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31"/>
          <a:stretch>
            <a:fillRect/>
          </a:stretch>
        </p:blipFill>
        <p:spPr>
          <a:xfrm>
            <a:off x="1317764" y="8542682"/>
            <a:ext cx="1121468" cy="389369"/>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2"/>
          <a:stretch>
            <a:fillRect/>
          </a:stretch>
        </p:blipFill>
        <p:spPr>
          <a:xfrm>
            <a:off x="450679" y="7777226"/>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3"/>
          <a:stretch>
            <a:fillRect/>
          </a:stretch>
        </p:blipFill>
        <p:spPr>
          <a:xfrm>
            <a:off x="1727270" y="7782927"/>
            <a:ext cx="1259778" cy="27470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Calibri</vt:lpstr>
      <vt:lpstr>FlexoSoft DemiBold</vt:lpstr>
      <vt:lpstr>FlexoSoft Medium</vt:lpstr>
      <vt:lpstr>Wingdings</vt:lpstr>
      <vt:lpstr>Wingdings 2</vt:lpstr>
      <vt:lpstr>FlexoSoft Light</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5-10T08:5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